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595" r:id="rId2"/>
    <p:sldId id="611" r:id="rId3"/>
    <p:sldId id="612" r:id="rId4"/>
    <p:sldId id="616" r:id="rId5"/>
    <p:sldId id="614" r:id="rId6"/>
    <p:sldId id="618" r:id="rId7"/>
    <p:sldId id="613" r:id="rId8"/>
    <p:sldId id="617" r:id="rId9"/>
    <p:sldId id="619" r:id="rId10"/>
    <p:sldId id="620" r:id="rId11"/>
    <p:sldId id="621" r:id="rId12"/>
    <p:sldId id="623" r:id="rId13"/>
    <p:sldId id="641" r:id="rId14"/>
    <p:sldId id="622" r:id="rId15"/>
    <p:sldId id="624" r:id="rId16"/>
    <p:sldId id="625" r:id="rId17"/>
    <p:sldId id="626" r:id="rId18"/>
    <p:sldId id="627" r:id="rId19"/>
    <p:sldId id="628" r:id="rId20"/>
    <p:sldId id="629" r:id="rId21"/>
    <p:sldId id="632" r:id="rId22"/>
    <p:sldId id="633" r:id="rId23"/>
    <p:sldId id="634" r:id="rId24"/>
    <p:sldId id="643" r:id="rId25"/>
    <p:sldId id="630" r:id="rId26"/>
    <p:sldId id="635" r:id="rId27"/>
    <p:sldId id="636" r:id="rId28"/>
    <p:sldId id="642" r:id="rId29"/>
    <p:sldId id="640" r:id="rId30"/>
    <p:sldId id="639" r:id="rId31"/>
    <p:sldId id="644" r:id="rId32"/>
    <p:sldId id="645" r:id="rId33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611"/>
            <p14:sldId id="612"/>
            <p14:sldId id="616"/>
            <p14:sldId id="614"/>
            <p14:sldId id="618"/>
            <p14:sldId id="613"/>
            <p14:sldId id="617"/>
            <p14:sldId id="619"/>
            <p14:sldId id="620"/>
            <p14:sldId id="621"/>
            <p14:sldId id="623"/>
            <p14:sldId id="641"/>
            <p14:sldId id="622"/>
            <p14:sldId id="624"/>
            <p14:sldId id="625"/>
            <p14:sldId id="626"/>
            <p14:sldId id="627"/>
            <p14:sldId id="628"/>
            <p14:sldId id="629"/>
            <p14:sldId id="632"/>
            <p14:sldId id="633"/>
            <p14:sldId id="634"/>
            <p14:sldId id="643"/>
            <p14:sldId id="630"/>
            <p14:sldId id="635"/>
            <p14:sldId id="636"/>
            <p14:sldId id="642"/>
            <p14:sldId id="640"/>
            <p14:sldId id="639"/>
            <p14:sldId id="644"/>
            <p14:sldId id="6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88" autoAdjust="0"/>
    <p:restoredTop sz="84977" autoAdjust="0"/>
  </p:normalViewPr>
  <p:slideViewPr>
    <p:cSldViewPr>
      <p:cViewPr varScale="1">
        <p:scale>
          <a:sx n="65" d="100"/>
          <a:sy n="65" d="100"/>
        </p:scale>
        <p:origin x="628" y="40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2/2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2/24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800" b="0" i="0" u="none" strike="noStrike" baseline="0" dirty="0">
                <a:latin typeface="TimesNewRomanPSMT"/>
              </a:rPr>
              <a:t>When defining a fork-join block, encapsulating the entire fork within a begin-end block causes the entire</a:t>
            </a:r>
          </a:p>
          <a:p>
            <a:pPr algn="l"/>
            <a:r>
              <a:rPr lang="en-US" sz="1800" b="0" i="0" u="none" strike="noStrike" baseline="0" dirty="0">
                <a:latin typeface="TimesNewRomanPSMT"/>
              </a:rPr>
              <a:t>block to execute as a single process, with each statement executing sequential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726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212: Digital Testing and Verific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F0EF8-B367-C8E7-91BE-E213A7438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FAB444-25B4-1A59-5B10-191717416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0FC3ADC-00EC-77D3-530B-FFAA9C19A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Threading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358771-E640-1A6F-823A-E4E171E73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B83F75-19E0-36F2-6B96-0E28A035B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552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6F1F5E-1D44-76A3-633C-ADBD1AE921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9C801D8-9BF4-D913-B60E-5E5F6A9E8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join </a:t>
            </a:r>
            <a:r>
              <a:rPr lang="en-US" sz="3600" dirty="0"/>
              <a:t>(Parallel blocks)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7D2774D-39E4-E6C8-E239-7EB34608F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two types of blocks in </a:t>
            </a:r>
            <a:r>
              <a:rPr lang="en-US" dirty="0" err="1"/>
              <a:t>SystemVerilog</a:t>
            </a:r>
            <a:endParaRPr lang="en-US" dirty="0"/>
          </a:p>
          <a:p>
            <a:pPr lvl="1"/>
            <a:r>
              <a:rPr lang="en-US" sz="2200" dirty="0"/>
              <a:t>Sequential blocks</a:t>
            </a:r>
          </a:p>
          <a:p>
            <a:pPr lvl="2"/>
            <a:r>
              <a:rPr lang="en-US" sz="2200" dirty="0">
                <a:latin typeface="Abadi Extra Light" panose="020B0204020104020204" pitchFamily="34" charset="0"/>
              </a:rPr>
              <a:t>begin – end </a:t>
            </a:r>
            <a:r>
              <a:rPr lang="en-US" sz="2200" dirty="0"/>
              <a:t>block</a:t>
            </a:r>
          </a:p>
          <a:p>
            <a:pPr lvl="1"/>
            <a:r>
              <a:rPr lang="en-US" sz="2200" dirty="0"/>
              <a:t>Parallel blocks</a:t>
            </a:r>
          </a:p>
          <a:p>
            <a:pPr lvl="2"/>
            <a:r>
              <a:rPr lang="en-US" sz="2200" dirty="0">
                <a:latin typeface="Abadi Extra Light" panose="020B0204020104020204" pitchFamily="34" charset="0"/>
              </a:rPr>
              <a:t>fork – join </a:t>
            </a:r>
            <a:r>
              <a:rPr lang="en-US" sz="2200" dirty="0"/>
              <a:t>block</a:t>
            </a:r>
          </a:p>
          <a:p>
            <a:r>
              <a:rPr lang="en-US" dirty="0"/>
              <a:t>The parallel block is delimited by the keywords </a:t>
            </a:r>
            <a:r>
              <a:rPr lang="en-US" dirty="0">
                <a:latin typeface="Abadi Extra Light" panose="020B0204020104020204" pitchFamily="34" charset="0"/>
              </a:rPr>
              <a:t>fork</a:t>
            </a:r>
            <a:r>
              <a:rPr lang="en-US" dirty="0"/>
              <a:t> and </a:t>
            </a:r>
            <a:r>
              <a:rPr lang="en-US" dirty="0">
                <a:latin typeface="Abadi Extra Light" panose="020B0204020104020204" pitchFamily="34" charset="0"/>
              </a:rPr>
              <a:t>join</a:t>
            </a:r>
            <a:r>
              <a:rPr lang="en-US" dirty="0"/>
              <a:t>, </a:t>
            </a:r>
            <a:r>
              <a:rPr lang="en-US" dirty="0" err="1">
                <a:latin typeface="Abadi Extra Light" panose="020B0204020104020204" pitchFamily="34" charset="0"/>
              </a:rPr>
              <a:t>join_any</a:t>
            </a:r>
            <a:r>
              <a:rPr lang="en-US" dirty="0"/>
              <a:t>, or </a:t>
            </a:r>
            <a:r>
              <a:rPr lang="en-US" dirty="0" err="1">
                <a:latin typeface="Abadi Extra Light" panose="020B0204020104020204" pitchFamily="34" charset="0"/>
              </a:rPr>
              <a:t>join_none</a:t>
            </a:r>
            <a:r>
              <a:rPr lang="en-US" dirty="0"/>
              <a:t>. </a:t>
            </a:r>
          </a:p>
          <a:p>
            <a:r>
              <a:rPr lang="en-US" dirty="0"/>
              <a:t>The procedural statements in a parallel block is executed concurrently (in parallel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F2B791-3B00-1022-74CD-EF0210A0D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7D0F39-A629-C65F-3686-D929EDCFF7B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0725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65320-0F06-C27E-D932-5D9B167789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B7D92D9-4BEF-5E67-E9FF-AA6C62CA2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join </a:t>
            </a:r>
            <a:r>
              <a:rPr lang="en-US" sz="3600" dirty="0"/>
              <a:t>(Parallel blocks)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EF915A-A568-CC64-79A2-70F0A559F8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1142995"/>
          </a:xfrm>
        </p:spPr>
        <p:txBody>
          <a:bodyPr/>
          <a:lstStyle/>
          <a:p>
            <a:r>
              <a:rPr lang="en-US" dirty="0" err="1"/>
              <a:t>SystemVerilog</a:t>
            </a:r>
            <a:r>
              <a:rPr lang="en-US" dirty="0"/>
              <a:t> provides three choices for specifying when the parent (forking) process resumes execution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207CFA-135B-F430-B9B2-9295DD991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ED2BF4-410B-7355-2F6E-CA6B0BD79F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3DEA47-032C-69EB-C298-27913AD85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619" y="2703876"/>
            <a:ext cx="11109582" cy="2722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308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FE8FC3-BA18-FEF7-6FF3-C858101CC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292E667-1648-5C78-571E-0EB21EECE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join </a:t>
            </a:r>
            <a:r>
              <a:rPr lang="en-US" sz="3600" dirty="0"/>
              <a:t>(Parallel blocks)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5A1549-5DD1-0CAB-6F08-9F5712CBB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E385B4-2C71-CB72-6D98-2BD5CE10A70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505BEA-2330-640F-F8E7-9D746C0284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676400"/>
            <a:ext cx="8850931" cy="3400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6636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A2728-D1AC-5FA8-5A31-6788632A7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5F00C9D-4CC4-8CE7-8713-6C857D799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join </a:t>
            </a:r>
            <a:r>
              <a:rPr lang="en-US" sz="3600" dirty="0"/>
              <a:t>(example1)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20A002F-BC6B-8A81-C8E2-B42A2D1CD1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Example1: fork - joi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AB05801-9209-AC9A-DE89-BF9C410AB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5715000" cy="4525963"/>
          </a:xfrm>
        </p:spPr>
        <p:txBody>
          <a:bodyPr/>
          <a:lstStyle/>
          <a:p>
            <a:r>
              <a:rPr lang="en-US" sz="2400" dirty="0">
                <a:latin typeface="Abadi Extra Light" panose="020B0204020104020204" pitchFamily="34" charset="0"/>
              </a:rPr>
              <a:t>fork</a:t>
            </a:r>
            <a:r>
              <a:rPr lang="en-US" sz="2400" dirty="0"/>
              <a:t> block will be blocked until the completion of process-1 and Process-2.</a:t>
            </a:r>
          </a:p>
          <a:p>
            <a:r>
              <a:rPr lang="en-US" sz="2400" dirty="0"/>
              <a:t>Both process-1 and Process-2 will start at the same simulation time</a:t>
            </a:r>
          </a:p>
          <a:p>
            <a:pPr lvl="1"/>
            <a:r>
              <a:rPr lang="en-US" sz="1800" dirty="0"/>
              <a:t>Process-1 will finish at 5ns</a:t>
            </a:r>
          </a:p>
          <a:p>
            <a:pPr lvl="1"/>
            <a:r>
              <a:rPr lang="en-US" sz="1800" dirty="0"/>
              <a:t>Process-2 will finish at 20ns. </a:t>
            </a:r>
          </a:p>
          <a:p>
            <a:r>
              <a:rPr lang="en-US" sz="2400" dirty="0">
                <a:latin typeface="Abadi Extra Light" panose="020B0204020104020204" pitchFamily="34" charset="0"/>
              </a:rPr>
              <a:t>fork-join</a:t>
            </a:r>
            <a:r>
              <a:rPr lang="en-US" sz="2400" dirty="0"/>
              <a:t> will be unblocked at 20ns.</a:t>
            </a:r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DFF492-51C2-5F7A-6674-97A1F9D0E2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14532-144D-24BE-1A1C-0372A2AF052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1BB9C7-FA50-03A8-5FA7-45ECB1F3BA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6216" y="1219223"/>
            <a:ext cx="5258278" cy="510074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775C2826-9740-6078-6CD6-DBB6AE5DC869}"/>
              </a:ext>
            </a:extLst>
          </p:cNvPr>
          <p:cNvSpPr/>
          <p:nvPr/>
        </p:nvSpPr>
        <p:spPr>
          <a:xfrm>
            <a:off x="6566216" y="2245596"/>
            <a:ext cx="5320984" cy="1524000"/>
          </a:xfrm>
          <a:prstGeom prst="ellipse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97FBF41-BCF5-34FC-CC9C-518E397EB0AC}"/>
              </a:ext>
            </a:extLst>
          </p:cNvPr>
          <p:cNvCxnSpPr>
            <a:cxnSpLocks/>
          </p:cNvCxnSpPr>
          <p:nvPr/>
        </p:nvCxnSpPr>
        <p:spPr>
          <a:xfrm flipH="1">
            <a:off x="4876800" y="3520654"/>
            <a:ext cx="2451416" cy="1660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516EA85-80B9-46F2-467E-BDBAD0F65B01}"/>
              </a:ext>
            </a:extLst>
          </p:cNvPr>
          <p:cNvSpPr txBox="1"/>
          <p:nvPr/>
        </p:nvSpPr>
        <p:spPr>
          <a:xfrm>
            <a:off x="3352800" y="5181600"/>
            <a:ext cx="1813424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/>
              <a:t>Sequential block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7E5BA70-33FA-BE54-A15C-E6492C2D2315}"/>
              </a:ext>
            </a:extLst>
          </p:cNvPr>
          <p:cNvSpPr/>
          <p:nvPr/>
        </p:nvSpPr>
        <p:spPr>
          <a:xfrm>
            <a:off x="6566216" y="4007631"/>
            <a:ext cx="5320984" cy="1524000"/>
          </a:xfrm>
          <a:prstGeom prst="ellipse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EF02A0-3D77-081F-2CFA-AAA661A473F4}"/>
              </a:ext>
            </a:extLst>
          </p:cNvPr>
          <p:cNvCxnSpPr>
            <a:cxnSpLocks/>
            <a:stCxn id="15" idx="2"/>
          </p:cNvCxnSpPr>
          <p:nvPr/>
        </p:nvCxnSpPr>
        <p:spPr>
          <a:xfrm flipH="1">
            <a:off x="5219700" y="4769631"/>
            <a:ext cx="1346516" cy="4119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911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F157B-F5DA-C007-07FB-9D1CA237C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85F1C8B-BFF8-D86E-4C0C-210C4C428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</a:t>
            </a:r>
            <a:r>
              <a:rPr lang="en-US" sz="3600" dirty="0" err="1">
                <a:latin typeface="Abadi Extra Light" panose="020B0204020104020204" pitchFamily="34" charset="0"/>
              </a:rPr>
              <a:t>join_any</a:t>
            </a:r>
            <a:r>
              <a:rPr lang="en-US" sz="3600" dirty="0">
                <a:latin typeface="Abadi Extra Light" panose="020B0204020104020204" pitchFamily="34" charset="0"/>
              </a:rPr>
              <a:t> </a:t>
            </a:r>
            <a:r>
              <a:rPr lang="en-US" sz="3600" dirty="0"/>
              <a:t>(example2)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379B91-6EA2-A709-3F2A-11238C215C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Example2: fork – </a:t>
            </a:r>
            <a:r>
              <a:rPr lang="en-US" sz="1800" dirty="0" err="1"/>
              <a:t>join_any</a:t>
            </a:r>
            <a:endParaRPr lang="en-US" sz="18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A3F4221-CD8E-E5C9-B766-4A6AF50EEE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5715000" cy="4525963"/>
          </a:xfrm>
        </p:spPr>
        <p:txBody>
          <a:bodyPr/>
          <a:lstStyle/>
          <a:p>
            <a:r>
              <a:rPr lang="en-US" sz="2400" dirty="0"/>
              <a:t>The </a:t>
            </a:r>
            <a:r>
              <a:rPr lang="en-US" sz="2400" dirty="0">
                <a:latin typeface="Abadi Extra Light" panose="020B0204020104020204" pitchFamily="34" charset="0"/>
              </a:rPr>
              <a:t>fork</a:t>
            </a:r>
            <a:r>
              <a:rPr lang="en-US" sz="2400" dirty="0"/>
              <a:t> block will be blocked until the completion of any of the processes, Process-1 or Process-2.</a:t>
            </a:r>
          </a:p>
          <a:p>
            <a:r>
              <a:rPr lang="en-US" sz="2400" dirty="0"/>
              <a:t>Both Process-1 and Process-2 will start at the same simulation time, </a:t>
            </a:r>
          </a:p>
          <a:p>
            <a:pPr lvl="1"/>
            <a:r>
              <a:rPr lang="en-US" sz="2400" dirty="0"/>
              <a:t>Process-1 will finish at 5ns </a:t>
            </a:r>
          </a:p>
          <a:p>
            <a:pPr lvl="1"/>
            <a:r>
              <a:rPr lang="en-US" sz="2400" dirty="0"/>
              <a:t>Process-2 will finish at 20ns </a:t>
            </a:r>
          </a:p>
          <a:p>
            <a:r>
              <a:rPr lang="en-US" sz="2400" dirty="0">
                <a:latin typeface="Abadi Extra Light" panose="020B0204020104020204" pitchFamily="34" charset="0"/>
              </a:rPr>
              <a:t>fork-</a:t>
            </a:r>
            <a:r>
              <a:rPr lang="en-US" sz="2400" dirty="0" err="1">
                <a:latin typeface="Abadi Extra Light" panose="020B0204020104020204" pitchFamily="34" charset="0"/>
              </a:rPr>
              <a:t>join_any</a:t>
            </a:r>
            <a:r>
              <a:rPr lang="en-US" sz="2400" dirty="0">
                <a:latin typeface="Abadi Extra Light" panose="020B0204020104020204" pitchFamily="34" charset="0"/>
              </a:rPr>
              <a:t> </a:t>
            </a:r>
            <a:r>
              <a:rPr lang="en-US" sz="2400" dirty="0"/>
              <a:t>will be unblocked at 5ns.</a:t>
            </a:r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08C3BE-4D6B-606E-1282-C9A6669C5F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78A3C-2BB3-F1FE-BB36-BF94BB6E2F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20CA4D-7050-84E1-59E7-40B937705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600" y="980071"/>
            <a:ext cx="5274499" cy="4334758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F84D45-243C-85DF-E523-AE01E2E22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5200" y="5113207"/>
            <a:ext cx="4250094" cy="1353734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279900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F722D-8409-3FFB-FDFF-EA0D9269E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9064D10-8350-A037-92D2-F4336CD0C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</a:t>
            </a:r>
            <a:r>
              <a:rPr lang="en-US" sz="3600" dirty="0" err="1">
                <a:latin typeface="Abadi Extra Light" panose="020B0204020104020204" pitchFamily="34" charset="0"/>
              </a:rPr>
              <a:t>join_none</a:t>
            </a:r>
            <a:r>
              <a:rPr lang="en-US" sz="3600" dirty="0">
                <a:latin typeface="Abadi Extra Light" panose="020B0204020104020204" pitchFamily="34" charset="0"/>
              </a:rPr>
              <a:t> </a:t>
            </a:r>
            <a:r>
              <a:rPr lang="en-US" sz="3600" dirty="0"/>
              <a:t>(example3)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25718B-E7E9-C441-4CD1-1EB30F56B6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Example3: fork – </a:t>
            </a:r>
            <a:r>
              <a:rPr lang="en-US" sz="1800" dirty="0" err="1"/>
              <a:t>join_none</a:t>
            </a:r>
            <a:endParaRPr lang="en-US" sz="18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126B49-30FD-A256-AC5E-B49AB951795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5715000" cy="4525963"/>
          </a:xfrm>
        </p:spPr>
        <p:txBody>
          <a:bodyPr/>
          <a:lstStyle/>
          <a:p>
            <a:r>
              <a:rPr lang="en-US" sz="2400" dirty="0"/>
              <a:t>The </a:t>
            </a:r>
            <a:r>
              <a:rPr lang="en-US" sz="2400" dirty="0">
                <a:latin typeface="Abadi Extra Light" panose="020B0204020104020204" pitchFamily="34" charset="0"/>
              </a:rPr>
              <a:t>fork</a:t>
            </a:r>
            <a:r>
              <a:rPr lang="en-US" sz="2400" dirty="0"/>
              <a:t> will start Process-1 and Process-2 at the same time, and it will come out of the block. </a:t>
            </a:r>
          </a:p>
          <a:p>
            <a:r>
              <a:rPr lang="en-US" sz="2400" dirty="0"/>
              <a:t>Process-1 and Process-2 will be executed until they are completed.</a:t>
            </a:r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3DA0E6-CE02-0502-2EDE-9C7E2747DF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50EC83-6997-E50B-F115-9FC235A2DF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2479A2-B7FB-0A74-79C8-6AD118B4D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4481" y="1124956"/>
            <a:ext cx="4923503" cy="38299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BD4756-D199-425E-0C27-6177C570E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0846" y="4904609"/>
            <a:ext cx="5051051" cy="1524024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423557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11F46E-F7A1-6CDD-E8B3-B5530CBB7E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541F0-93A9-ADC3-234A-FBC478D4E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Abadi Extra Light" panose="020B0204020104020204" pitchFamily="34" charset="0"/>
              </a:rPr>
              <a:t>fork – join </a:t>
            </a:r>
            <a:r>
              <a:rPr lang="en-US" sz="3600" dirty="0"/>
              <a:t>(Parallel blocks)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6E34AEF-1196-4E9C-1351-3E42BA1BFB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Summar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B2AD4AC-5D39-C487-C64E-5E695C794E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210800" cy="4525963"/>
          </a:xfrm>
        </p:spPr>
        <p:txBody>
          <a:bodyPr/>
          <a:lstStyle/>
          <a:p>
            <a:r>
              <a:rPr lang="en-US" sz="2400" dirty="0"/>
              <a:t>For sequential blocks, the start time is when the first statement is executed, and the finish time is when the last statement has been executed.</a:t>
            </a:r>
          </a:p>
          <a:p>
            <a:r>
              <a:rPr lang="en-US" sz="2400" dirty="0"/>
              <a:t>For parallel blocks, the start time is the same for all the statements, and the finish time is controlled by the join construct used</a:t>
            </a:r>
          </a:p>
          <a:p>
            <a:r>
              <a:rPr lang="en-US" sz="2400" dirty="0"/>
              <a:t>Sequential and parallel blocks can be embedded within each other, allowing complex control structures to be expressed easily and with a high degree of structure.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31935-AF76-1A95-605F-600A869487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643D4B-FBC1-65E6-0B74-D53276C2B24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7256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DEBD9-36A8-080E-9F9A-740B826786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8D7B55-E37B-0D25-9E65-2C28B631EF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FAB444-25B4-1A59-5B10-191717416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01054BE-449B-57DD-00F0-5022C9D45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</a:t>
            </a:r>
            <a:r>
              <a:rPr lang="en-US" dirty="0" err="1"/>
              <a:t>Interprocess</a:t>
            </a:r>
            <a:r>
              <a:rPr lang="en-US" dirty="0"/>
              <a:t> Synchronization</a:t>
            </a:r>
            <a:br>
              <a:rPr lang="en-US" dirty="0"/>
            </a:br>
            <a:r>
              <a:rPr lang="en-US" dirty="0"/>
              <a:t>&amp; Communication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0B2B15-71E2-DE5C-8ACD-BE045AA3B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0813F4-056B-433B-C95E-B91275FDC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803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FDEBB2-904A-6103-202D-79B6A5FD7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8F19488-2A3E-E746-EDAB-BBE96B028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Overview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4AE76C-E037-3F08-E7B7-734E0D0EAE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Verilog provides basic synchronization mechanisms that are adequate at the hardware level (i.e. @)</a:t>
            </a:r>
          </a:p>
          <a:p>
            <a:r>
              <a:rPr lang="en-US" sz="2400" dirty="0"/>
              <a:t>This type of control is adequate for static objects but falls short in a dynamic and highly reactive testbench.</a:t>
            </a:r>
          </a:p>
          <a:p>
            <a:r>
              <a:rPr lang="en-US" sz="2400" dirty="0"/>
              <a:t>Hence, </a:t>
            </a:r>
            <a:r>
              <a:rPr lang="en-US" sz="2400" dirty="0" err="1"/>
              <a:t>SystemVerilog</a:t>
            </a:r>
            <a:r>
              <a:rPr lang="en-US" sz="2400" dirty="0"/>
              <a:t> adds the following communication mechanisms:</a:t>
            </a:r>
          </a:p>
          <a:p>
            <a:pPr lvl="1"/>
            <a:r>
              <a:rPr lang="en-US" sz="2400" u="sng" dirty="0"/>
              <a:t>Semaphores</a:t>
            </a:r>
          </a:p>
          <a:p>
            <a:pPr lvl="2"/>
            <a:r>
              <a:rPr lang="en-US" sz="2000" dirty="0"/>
              <a:t>built-in class, which can be used for synchronization and mutual exclusion to shared resources</a:t>
            </a:r>
          </a:p>
          <a:p>
            <a:pPr lvl="1"/>
            <a:r>
              <a:rPr lang="en-US" sz="2400" u="sng" dirty="0"/>
              <a:t>Mailboxes</a:t>
            </a:r>
          </a:p>
          <a:p>
            <a:pPr lvl="2"/>
            <a:r>
              <a:rPr lang="en-US" sz="2000" dirty="0"/>
              <a:t>built-in class, which can be used as a communication channel between process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5DEC9E-7ED8-EB9B-776F-FEA1074F6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BD56F4-ADC8-028E-FA80-C235D14BFFC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915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098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 err="1"/>
              <a:t>SystemVerilog</a:t>
            </a:r>
            <a:r>
              <a:rPr lang="en-US" dirty="0"/>
              <a:t> Routines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22B844-A1C0-612F-3173-4F57B691C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658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B406DE-1387-1EE7-FD55-DF70E86EEF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F08390A-FD94-EBD0-7EB1-1C2A70053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emaphor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694027B-A68B-9063-90BC-0A41C24B60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591800" cy="4906960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2"/>
                </a:solidFill>
                <a:latin typeface="Abadi Extra Light" panose="020B0204020104020204" pitchFamily="34" charset="0"/>
              </a:rPr>
              <a:t>semaphore</a:t>
            </a:r>
            <a:r>
              <a:rPr lang="en-US" sz="2400" dirty="0">
                <a:latin typeface="Abadi Extra Light" panose="020B0204020104020204" pitchFamily="34" charset="0"/>
              </a:rPr>
              <a:t> </a:t>
            </a:r>
            <a:r>
              <a:rPr lang="en-US" sz="2400" dirty="0" err="1">
                <a:latin typeface="Abadi Extra Light" panose="020B0204020104020204" pitchFamily="34" charset="0"/>
              </a:rPr>
              <a:t>identifier_name</a:t>
            </a:r>
            <a:r>
              <a:rPr lang="en-US" sz="2400" dirty="0">
                <a:latin typeface="Abadi Extra Light" panose="020B0204020104020204" pitchFamily="34" charset="0"/>
              </a:rPr>
              <a:t>;</a:t>
            </a:r>
          </a:p>
          <a:p>
            <a:r>
              <a:rPr lang="en-US" sz="2400" dirty="0"/>
              <a:t>Conceptually, a semaphore is a bucket. </a:t>
            </a:r>
          </a:p>
          <a:p>
            <a:r>
              <a:rPr lang="en-US" sz="2400" dirty="0"/>
              <a:t>When a semaphore is allocated, a bucket containing a fixed number of keys is created </a:t>
            </a:r>
          </a:p>
          <a:p>
            <a:r>
              <a:rPr lang="en-US" sz="2400" dirty="0"/>
              <a:t>Processes using semaphores must first get a key from the bucket before executing.</a:t>
            </a:r>
          </a:p>
          <a:p>
            <a:r>
              <a:rPr lang="en-US" sz="2400" dirty="0"/>
              <a:t>All other processes must wait until a sufficient number of keys is returned to the bucket.</a:t>
            </a:r>
          </a:p>
          <a:p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0F6960-C7BD-32B0-4F52-9D337A39F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140BE3-8267-7C6D-C7F6-6B5C59F80E7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2218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2038B1-49E8-2047-D6BA-C84A7742DE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708AAF4-EB83-A9E8-B4D9-ED018D489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emaphore Method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BC6CF9-3A42-06BF-95A2-5C5AAC89E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DA2A58-FF3A-4446-0D35-2DD956AB92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1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06E40D7-1B56-EB2B-A641-10E47251E6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5387931"/>
              </p:ext>
            </p:extLst>
          </p:nvPr>
        </p:nvGraphicFramePr>
        <p:xfrm>
          <a:off x="1905000" y="1884929"/>
          <a:ext cx="6842243" cy="308814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801151">
                  <a:extLst>
                    <a:ext uri="{9D8B030D-6E8A-4147-A177-3AD203B41FA5}">
                      <a16:colId xmlns:a16="http://schemas.microsoft.com/office/drawing/2014/main" val="1393758228"/>
                    </a:ext>
                  </a:extLst>
                </a:gridCol>
                <a:gridCol w="5041092">
                  <a:extLst>
                    <a:ext uri="{9D8B030D-6E8A-4147-A177-3AD203B41FA5}">
                      <a16:colId xmlns:a16="http://schemas.microsoft.com/office/drawing/2014/main" val="1256879772"/>
                    </a:ext>
                  </a:extLst>
                </a:gridCol>
              </a:tblGrid>
              <a:tr h="764994">
                <a:tc>
                  <a:txBody>
                    <a:bodyPr/>
                    <a:lstStyle/>
                    <a:p>
                      <a:pPr fontAlgn="base"/>
                      <a:r>
                        <a:rPr lang="en-US" sz="2000" b="1" dirty="0">
                          <a:effectLst/>
                        </a:rPr>
                        <a:t>Method name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2000" b="1" dirty="0">
                          <a:effectLst/>
                        </a:rPr>
                        <a:t>Description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57515587"/>
                  </a:ext>
                </a:extLst>
              </a:tr>
              <a:tr h="724102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new(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To create a semaphore with a specified number of keys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4175676849"/>
                  </a:ext>
                </a:extLst>
              </a:tr>
              <a:tr h="437472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get(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o obtain or get a specified number of key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252648921"/>
                  </a:ext>
                </a:extLst>
              </a:tr>
              <a:tr h="437472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put() 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o put or return the number of keys 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17485826"/>
                  </a:ext>
                </a:extLst>
              </a:tr>
              <a:tr h="724102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 err="1">
                          <a:effectLst/>
                        </a:rPr>
                        <a:t>try_get</a:t>
                      </a:r>
                      <a:r>
                        <a:rPr lang="en-US" sz="1600" b="0" dirty="0">
                          <a:effectLst/>
                        </a:rPr>
                        <a:t>(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ry to obtain or get a specified number of keys without blocking the execution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533937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648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8965C5-6576-BB9E-A458-E79A304261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5913070-D37E-2913-EBD4-78707FA40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emaphore – Example 1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0DC33F-FF9B-CCFD-04FF-555A87EAC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4ACD1F-80A8-2164-D80A-3D37426305B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1E02E3-EF57-31C1-9E5C-17DAB232FF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8295" y="1262212"/>
            <a:ext cx="5845696" cy="4088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93575E-DD73-B928-8060-D5FF105B0D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1077399"/>
            <a:ext cx="5191606" cy="46994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6CCC8F-09D5-F9A1-C517-C2560B39E03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335"/>
          <a:stretch/>
        </p:blipFill>
        <p:spPr>
          <a:xfrm>
            <a:off x="7162800" y="5271698"/>
            <a:ext cx="4925261" cy="1096408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3ECACAB-813F-BAF3-3735-1E346700EC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2600" y="5272377"/>
            <a:ext cx="4635161" cy="1096408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42585800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5A48A3-E340-4DAC-F12C-92899DA69B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D8A3FF3-456C-A752-BC12-A42BFF496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emaphore – Example 2 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FB7D3EC-DF30-4131-9822-9EA331D6D6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et single key per proc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9D487E-5E00-39D9-9B0D-E10B6A229E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DDE110-65EF-2734-C2F7-44630A0A2B3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A78CB5C-74E5-7135-55F4-F69AE6F90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516496"/>
            <a:ext cx="6553200" cy="484841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22186CB-C742-DFEB-A58F-22BA72AA21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9064" y="4918473"/>
            <a:ext cx="4859694" cy="1541065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0804582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971242-BBF7-2E20-CBC2-626F1E81F1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772EA61-3728-E5D4-303D-00AB07691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emaphore – Example 3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B3E51D-DB71-94E8-0D38-B24B90C70F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</a:t>
            </a:r>
            <a:r>
              <a:rPr lang="en-US" sz="1600" dirty="0"/>
              <a:t>et multiple keys per proces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5DE6CD-CCF2-B782-29E6-AC18DDAED2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56888B-046A-254C-F88E-BE5615F88D6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4FF369-742B-7ADD-12CE-5A5A66F3B1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447800"/>
            <a:ext cx="7155444" cy="50117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C9EF53D-82AB-5D88-DAB3-EEB7BF822E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381" y="4918502"/>
            <a:ext cx="5056785" cy="14405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5888940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E9446A-D83D-9B19-B817-1E03B395D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A8361F-2DEA-9358-2523-3B5813C22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ailbox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3FC3CF0-6AA2-E837-18A1-13A2FF4BF4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19205"/>
            <a:ext cx="10477499" cy="236219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2"/>
                </a:solidFill>
                <a:latin typeface="Abadi Extra Light" panose="020B0204020104020204" pitchFamily="34" charset="0"/>
              </a:rPr>
              <a:t>mailbox</a:t>
            </a:r>
            <a:r>
              <a:rPr lang="en-US" sz="2400" dirty="0">
                <a:latin typeface="Abadi Extra Light" panose="020B0204020104020204" pitchFamily="34" charset="0"/>
              </a:rPr>
              <a:t> #(type) </a:t>
            </a:r>
            <a:r>
              <a:rPr lang="en-US" sz="2400" dirty="0" err="1">
                <a:latin typeface="Abadi Extra Light" panose="020B0204020104020204" pitchFamily="34" charset="0"/>
              </a:rPr>
              <a:t>identifier_name</a:t>
            </a:r>
            <a:r>
              <a:rPr lang="en-US" sz="2400" dirty="0">
                <a:latin typeface="Abadi Extra Light" panose="020B0204020104020204" pitchFamily="34" charset="0"/>
              </a:rPr>
              <a:t>;	</a:t>
            </a:r>
            <a:endParaRPr lang="en-US" sz="2400" dirty="0"/>
          </a:p>
          <a:p>
            <a:r>
              <a:rPr lang="en-US" sz="2400" dirty="0"/>
              <a:t>A mailbox is a communication mechanism that allows messages to be exchanged between processes.</a:t>
            </a:r>
          </a:p>
          <a:p>
            <a:r>
              <a:rPr lang="en-US" sz="2400" dirty="0"/>
              <a:t>Data can be sent to a mailbox by one process and retrieved by another. </a:t>
            </a:r>
          </a:p>
          <a:p>
            <a:r>
              <a:rPr lang="en-US" sz="2400" dirty="0"/>
              <a:t>Mailbox behaves as first-in-first-out (FIFO), with a source and sin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66A6DD-5700-192A-4AA6-0B5936650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B1F5AA-8DDA-07EE-690E-172541C0320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B654CD-259E-4F51-6DA3-67027ED7C0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6132" y="3905456"/>
            <a:ext cx="4779656" cy="1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406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FA49C3-FCE8-80CF-2229-24CEFDF798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806DDF4-EA1F-3E9F-B0AD-D70992F2B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ailbox Method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FD7B7F-4C67-A9FF-C48D-141C5164B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505565-2B35-FD58-1DE3-1FBB60E352D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ED2FDD4-1A58-E45B-749D-457CB8BF1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413969"/>
              </p:ext>
            </p:extLst>
          </p:nvPr>
        </p:nvGraphicFramePr>
        <p:xfrm>
          <a:off x="1295400" y="1436020"/>
          <a:ext cx="8763000" cy="4620824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983048">
                  <a:extLst>
                    <a:ext uri="{9D8B030D-6E8A-4147-A177-3AD203B41FA5}">
                      <a16:colId xmlns:a16="http://schemas.microsoft.com/office/drawing/2014/main" val="1527042036"/>
                    </a:ext>
                  </a:extLst>
                </a:gridCol>
                <a:gridCol w="5779952">
                  <a:extLst>
                    <a:ext uri="{9D8B030D-6E8A-4147-A177-3AD203B41FA5}">
                      <a16:colId xmlns:a16="http://schemas.microsoft.com/office/drawing/2014/main" val="2609539985"/>
                    </a:ext>
                  </a:extLst>
                </a:gridCol>
              </a:tblGrid>
              <a:tr h="469406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 dirty="0">
                          <a:effectLst/>
                        </a:rPr>
                        <a:t>Method name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 dirty="0">
                          <a:effectLst/>
                        </a:rPr>
                        <a:t>Description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888492505"/>
                  </a:ext>
                </a:extLst>
              </a:tr>
              <a:tr h="540137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function new(int bound = 0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Returns mailbox handle. An argument represents bounded mailbox size otherwise, it is an unbounded mailbo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700144971"/>
                  </a:ext>
                </a:extLst>
              </a:tr>
              <a:tr h="469406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ask put(&lt;data&gt;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Blocking method that stores data in the mailbox.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704424069"/>
                  </a:ext>
                </a:extLst>
              </a:tr>
              <a:tr h="540137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function int try_put(&lt;data&gt;)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he non-blocking method that stores data in the mailbox if it is not full and returns 1 else 0.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76978585"/>
                  </a:ext>
                </a:extLst>
              </a:tr>
              <a:tr h="469406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task get(ref &lt;data&gt;)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Blocking method to retrieve data from the mailbo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4024825335"/>
                  </a:ext>
                </a:extLst>
              </a:tr>
              <a:tr h="540137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function int try_get(ref &lt;data&gt;)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he non-blocking method which returns data if a mailbox is non-empty else returns 0.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869262180"/>
                  </a:ext>
                </a:extLst>
              </a:tr>
              <a:tr h="469406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task peek(ref &lt;data&gt;)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Copies data from the mailbox without removing it from a mailbo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994067508"/>
                  </a:ext>
                </a:extLst>
              </a:tr>
              <a:tr h="540137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>
                          <a:effectLst/>
                        </a:rPr>
                        <a:t>function int try_peek(ref &lt;data&gt;)</a:t>
                      </a:r>
                      <a:endParaRPr lang="en-US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Tries to copy data from the mailbox without removing it from a mailbo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2488187641"/>
                  </a:ext>
                </a:extLst>
              </a:tr>
              <a:tr h="469406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function int num(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Returns number of entries in the mailbox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738602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0735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93709-0A03-35D9-D4BE-EE790D390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0EAA25-3F3D-6DD1-CF75-78544CF42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ailbox – bounded/unbounded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3D58F7F-773D-540F-9558-D69DF814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210800" cy="4906960"/>
          </a:xfrm>
        </p:spPr>
        <p:txBody>
          <a:bodyPr/>
          <a:lstStyle/>
          <a:p>
            <a:r>
              <a:rPr lang="en-US" sz="2400" dirty="0"/>
              <a:t>Mailbox is unbounded by default.</a:t>
            </a:r>
          </a:p>
          <a:p>
            <a:r>
              <a:rPr lang="en-US" sz="2400" dirty="0"/>
              <a:t>It can be bounded by passing the required size to its new function.</a:t>
            </a:r>
          </a:p>
          <a:p>
            <a:r>
              <a:rPr lang="en-US" sz="2400" dirty="0"/>
              <a:t>A bounded mailbox becomes full when it contains the bounded number of messages.</a:t>
            </a:r>
          </a:p>
          <a:p>
            <a:pPr lvl="1"/>
            <a:r>
              <a:rPr lang="en-US" sz="1800" dirty="0"/>
              <a:t>When the source thread tries to put a value into a sized mailbox that is full, that thread blocks until the value is removed.</a:t>
            </a:r>
          </a:p>
          <a:p>
            <a:pPr lvl="1"/>
            <a:r>
              <a:rPr lang="en-US" sz="1800" dirty="0"/>
              <a:t>Likewise, if a sink threads tries to remove a value from an empty mailbox, that thread blocks until a value is put into the mailbox</a:t>
            </a:r>
          </a:p>
          <a:p>
            <a:r>
              <a:rPr lang="en-US" sz="2400" dirty="0"/>
              <a:t>Unbounded mailboxes never suspend a thread in a send ope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9CDD5C-0363-4258-2CED-1E6235F00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5494B2-9647-5014-4934-977E9DF803E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1835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3FCDA-2281-95DC-7016-BC32DA4274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EA097CA-DD06-A2AD-CF3C-29DEC51F6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ailbox – examp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D74159-B0B8-3D34-7801-F9AA1C51E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607A0A-3301-0675-600A-09492B3F67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498861-CB04-D901-D123-B369D190C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34367"/>
            <a:ext cx="5011043" cy="554435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149768-4DC1-55B4-B8C6-4A7A21D74B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68"/>
          <a:stretch/>
        </p:blipFill>
        <p:spPr>
          <a:xfrm>
            <a:off x="6019800" y="1295399"/>
            <a:ext cx="5181600" cy="5197163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3844328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755405-09E3-8F79-E5E4-260262F2B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B8185FB-8C37-A4F1-208F-A3A8CEB2C3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8D7B55-E37B-0D25-9E65-2C28B631E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E5ABB98-A730-A5A6-4B12-36E1A8B77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3: (~ 60 min)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E5DC48-B4A1-4303-94E4-4F6835369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DF2C73-AF1F-6EF7-9782-F43360563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0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99DD25C-4C37-14FE-6AF0-A2B37FB82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routines (</a:t>
            </a:r>
            <a:r>
              <a:rPr lang="en-US" dirty="0">
                <a:latin typeface="Abadi Extra Light" panose="020B0204020104020204" pitchFamily="34" charset="0"/>
              </a:rPr>
              <a:t>task</a:t>
            </a:r>
            <a:r>
              <a:rPr lang="en-US" dirty="0"/>
              <a:t> &amp; </a:t>
            </a:r>
            <a:r>
              <a:rPr lang="en-US" dirty="0">
                <a:latin typeface="Abadi Extra Light" panose="020B0204020104020204" pitchFamily="34" charset="0"/>
              </a:rPr>
              <a:t>function</a:t>
            </a:r>
            <a:r>
              <a:rPr lang="en-US" dirty="0"/>
              <a:t>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DD7B523-2B15-286F-4461-CB3BCDEBDA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Tasks and functions provide the ability to execute common procedures from several different places in a code.</a:t>
            </a:r>
          </a:p>
          <a:p>
            <a:r>
              <a:rPr lang="en-US" sz="2400" dirty="0"/>
              <a:t>They also provide a means of breaking up large procedures into smaller ones to make them easier to read and debug.</a:t>
            </a:r>
          </a:p>
          <a:p>
            <a:r>
              <a:rPr lang="en-US" sz="2400" dirty="0"/>
              <a:t>Tasks and functions are collectively referred to as subroutines</a:t>
            </a: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890DEA-E5B3-73D1-96A1-F4C9DD635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84DE96-1326-9CE9-7714-1E5C7DB567B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4752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973BE-B925-FD33-6FB0-27F477462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04A1CA4-C8FE-60D2-CA24-FC34C7BEF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Lab Task: Producer-Consumer Model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26A473-E783-CE20-145A-6E0EB1B1D7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058400" cy="4906960"/>
          </a:xfrm>
        </p:spPr>
        <p:txBody>
          <a:bodyPr/>
          <a:lstStyle/>
          <a:p>
            <a:r>
              <a:rPr lang="en-US" sz="1800" dirty="0"/>
              <a:t>In this lab, a producer and consumer model can be designed using the pre-defined packet data type, </a:t>
            </a:r>
            <a:r>
              <a:rPr lang="en-US" sz="1800" dirty="0" err="1"/>
              <a:t>SystemVerilog</a:t>
            </a:r>
            <a:r>
              <a:rPr lang="en-US" sz="1800" dirty="0"/>
              <a:t> mailbox, and tasks as follows:</a:t>
            </a:r>
          </a:p>
          <a:p>
            <a:pPr lvl="1"/>
            <a:r>
              <a:rPr lang="en-US" sz="1800" dirty="0"/>
              <a:t>Create a packet that has: </a:t>
            </a:r>
          </a:p>
          <a:p>
            <a:pPr lvl="2"/>
            <a:r>
              <a:rPr lang="en-US" sz="1400" dirty="0"/>
              <a:t>ID</a:t>
            </a:r>
          </a:p>
          <a:p>
            <a:pPr lvl="2"/>
            <a:r>
              <a:rPr lang="en-US" sz="1400" dirty="0" err="1"/>
              <a:t>Sent_time</a:t>
            </a:r>
            <a:endParaRPr lang="en-US" sz="1400" dirty="0"/>
          </a:p>
          <a:p>
            <a:pPr lvl="2"/>
            <a:r>
              <a:rPr lang="en-US" sz="1400" dirty="0" err="1"/>
              <a:t>packet_type</a:t>
            </a:r>
            <a:r>
              <a:rPr lang="en-US" sz="1400" dirty="0"/>
              <a:t> </a:t>
            </a:r>
          </a:p>
          <a:p>
            <a:pPr lvl="2"/>
            <a:r>
              <a:rPr lang="en-US" sz="1400" dirty="0"/>
              <a:t>data</a:t>
            </a:r>
          </a:p>
          <a:p>
            <a:pPr lvl="1"/>
            <a:r>
              <a:rPr lang="en-US" sz="1800" dirty="0"/>
              <a:t>Types of packets are:</a:t>
            </a:r>
          </a:p>
          <a:p>
            <a:pPr lvl="2"/>
            <a:r>
              <a:rPr lang="en-US" sz="1400" dirty="0"/>
              <a:t>Message</a:t>
            </a:r>
          </a:p>
          <a:p>
            <a:pPr lvl="2"/>
            <a:r>
              <a:rPr lang="en-US" sz="1400" dirty="0"/>
              <a:t>Command</a:t>
            </a:r>
          </a:p>
          <a:p>
            <a:pPr lvl="2"/>
            <a:r>
              <a:rPr lang="en-US" sz="1400" dirty="0"/>
              <a:t>Control</a:t>
            </a:r>
          </a:p>
          <a:p>
            <a:pPr lvl="1"/>
            <a:r>
              <a:rPr lang="en-US" sz="1800" dirty="0"/>
              <a:t>Create a task for a producer that writes in the mailbox every 10ns.</a:t>
            </a:r>
          </a:p>
          <a:p>
            <a:pPr lvl="1"/>
            <a:r>
              <a:rPr lang="en-US" sz="1800" dirty="0"/>
              <a:t>Create a task for a consumer that reads from the mailbox every 5ns.</a:t>
            </a:r>
          </a:p>
          <a:p>
            <a:pPr lvl="1"/>
            <a:r>
              <a:rPr lang="en-US" sz="1800" dirty="0"/>
              <a:t>Use fork-join to synchronize between them.</a:t>
            </a:r>
          </a:p>
          <a:p>
            <a:pPr lvl="1"/>
            <a:r>
              <a:rPr lang="en-US" sz="1800" dirty="0"/>
              <a:t>Randomize multiple packets and send them from the producer in a fixed time interval.</a:t>
            </a:r>
            <a:endParaRPr lang="en-US" sz="7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D5B3D4-9663-DDF0-D15D-0FD154605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D5B0C8-7850-621C-3E65-E11FBF6FE39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6124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F2A1D2-0964-97EC-245E-9D4CA73CB2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7B5C54-8FF5-DE53-51C9-66D56E1B38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B8185FB-8C37-A4F1-208F-A3A8CEB2C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CB048E9-6CF4-3D64-2BAE-DCF51851C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Assignment: (~ 60 min)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9DEE80-0376-1E04-5358-B53576C07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EB2A44-84CF-52EE-0144-9EF7C8E95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0177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8A3A73-2A58-1FCF-4246-1FE5057A28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E8CD2DE-4561-4960-4DBD-A9DA6456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ssignment: Producer-Consumer Model with prioritie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69A68A1-663F-6925-C3A5-5A857DC04F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058400" cy="5240333"/>
          </a:xfrm>
        </p:spPr>
        <p:txBody>
          <a:bodyPr/>
          <a:lstStyle/>
          <a:p>
            <a:r>
              <a:rPr lang="en-US" sz="2000" dirty="0"/>
              <a:t>For the lab assignment, a producer and consumer model can be designed using the pre-defined packet data type, </a:t>
            </a:r>
            <a:r>
              <a:rPr lang="en-US" sz="2000" dirty="0" err="1"/>
              <a:t>SystemVerilog</a:t>
            </a:r>
            <a:r>
              <a:rPr lang="en-US" sz="2000" dirty="0"/>
              <a:t> mailbox, and tasks as follows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800" dirty="0"/>
              <a:t>Create a packet that has: ID, </a:t>
            </a:r>
            <a:r>
              <a:rPr lang="en-US" sz="1800" dirty="0" err="1"/>
              <a:t>Sent_time</a:t>
            </a:r>
            <a:r>
              <a:rPr lang="en-US" sz="1800" dirty="0"/>
              <a:t>, </a:t>
            </a:r>
            <a:r>
              <a:rPr lang="en-US" sz="1800" dirty="0" err="1"/>
              <a:t>packet_type</a:t>
            </a:r>
            <a:r>
              <a:rPr lang="en-US" sz="1800" dirty="0"/>
              <a:t>, priority and data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800" dirty="0"/>
              <a:t>Types of packets are Message, Command, and Control.</a:t>
            </a:r>
          </a:p>
          <a:p>
            <a:pPr lvl="1"/>
            <a:r>
              <a:rPr lang="en-US" sz="1800" dirty="0"/>
              <a:t>There are three levels of priority: </a:t>
            </a:r>
          </a:p>
          <a:p>
            <a:pPr lvl="2"/>
            <a:r>
              <a:rPr lang="en-US" dirty="0"/>
              <a:t>High</a:t>
            </a:r>
          </a:p>
          <a:p>
            <a:pPr lvl="2"/>
            <a:r>
              <a:rPr lang="en-US" dirty="0"/>
              <a:t>Medium</a:t>
            </a:r>
          </a:p>
          <a:p>
            <a:pPr lvl="2"/>
            <a:r>
              <a:rPr lang="en-US" dirty="0"/>
              <a:t>Low</a:t>
            </a:r>
          </a:p>
          <a:p>
            <a:pPr lvl="1"/>
            <a:r>
              <a:rPr lang="en-US" sz="1800" dirty="0"/>
              <a:t>Create a task for a producer that writes in the mailbox every 5ns</a:t>
            </a:r>
          </a:p>
          <a:p>
            <a:pPr lvl="1"/>
            <a:r>
              <a:rPr lang="en-US" sz="1800" dirty="0"/>
              <a:t>Create a task for a consumer that reads from the mailbox every 20ns </a:t>
            </a:r>
            <a:r>
              <a:rPr lang="en-US" sz="1800" b="1" dirty="0"/>
              <a:t>but reads the packets with higher priority first.</a:t>
            </a:r>
          </a:p>
          <a:p>
            <a:pPr lvl="1"/>
            <a:r>
              <a:rPr lang="en-US" sz="1800" dirty="0"/>
              <a:t>Use fork-join to synchronize between them.</a:t>
            </a:r>
          </a:p>
          <a:p>
            <a:pPr lvl="1"/>
            <a:r>
              <a:rPr lang="en-US" sz="1800" dirty="0"/>
              <a:t>Randomize multiple packets and send them from the producer in a fixed time interval.</a:t>
            </a:r>
            <a:endParaRPr lang="en-US" sz="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AF7E77-E162-AA75-86AB-E3280AECB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4CCA7E-2480-B439-4EB2-57DA7A6D616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01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7D275A-576C-0BE3-D703-058401BDD0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2402B1A-BA4C-39B8-387E-4B4A2618B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routines (</a:t>
            </a:r>
            <a:r>
              <a:rPr lang="en-US" dirty="0">
                <a:latin typeface="Abadi Extra Light" panose="020B0204020104020204" pitchFamily="34" charset="0"/>
              </a:rPr>
              <a:t>task</a:t>
            </a:r>
            <a:r>
              <a:rPr lang="en-US" dirty="0"/>
              <a:t> &amp; </a:t>
            </a:r>
            <a:r>
              <a:rPr lang="en-US" dirty="0">
                <a:latin typeface="Abadi Extra Light" panose="020B0204020104020204" pitchFamily="34" charset="0"/>
              </a:rPr>
              <a:t>function</a:t>
            </a:r>
            <a:r>
              <a:rPr lang="en-US" dirty="0"/>
              <a:t>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AED2C53-BCD7-0451-38F4-428AB06CEE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s</a:t>
            </a:r>
          </a:p>
          <a:p>
            <a:pPr lvl="1"/>
            <a:r>
              <a:rPr lang="en-US" sz="2000" dirty="0"/>
              <a:t>Cannot block</a:t>
            </a:r>
          </a:p>
          <a:p>
            <a:pPr lvl="2"/>
            <a:r>
              <a:rPr lang="en-US" sz="2000" dirty="0"/>
              <a:t>Can’t have time-controlling statements such as </a:t>
            </a:r>
            <a:r>
              <a:rPr lang="en-US" sz="2000" dirty="0">
                <a:latin typeface="Abadi Extra Light" panose="020B0204020104020204" pitchFamily="34" charset="0"/>
              </a:rPr>
              <a:t>@(posedge </a:t>
            </a:r>
            <a:r>
              <a:rPr lang="en-US" sz="2000" dirty="0" err="1">
                <a:latin typeface="Abadi Extra Light" panose="020B0204020104020204" pitchFamily="34" charset="0"/>
              </a:rPr>
              <a:t>clk</a:t>
            </a:r>
            <a:r>
              <a:rPr lang="en-US" sz="2000" dirty="0">
                <a:latin typeface="Abadi Extra Light" panose="020B0204020104020204" pitchFamily="34" charset="0"/>
              </a:rPr>
              <a:t>)</a:t>
            </a:r>
          </a:p>
          <a:p>
            <a:pPr lvl="2"/>
            <a:r>
              <a:rPr lang="en-US" sz="2000" dirty="0"/>
              <a:t>The statements in the body of a function execute in one simulation time unit</a:t>
            </a:r>
          </a:p>
          <a:p>
            <a:pPr lvl="1"/>
            <a:r>
              <a:rPr lang="en-US" sz="2000" dirty="0"/>
              <a:t>A non-void function must return a single value</a:t>
            </a:r>
          </a:p>
          <a:p>
            <a:pPr lvl="2"/>
            <a:r>
              <a:rPr lang="en-US" sz="2000" dirty="0" err="1"/>
              <a:t>SystemVerilog</a:t>
            </a:r>
            <a:r>
              <a:rPr lang="en-US" sz="2000" dirty="0"/>
              <a:t> improves this by adding (</a:t>
            </a:r>
            <a:r>
              <a:rPr lang="en-US" sz="2000" dirty="0">
                <a:latin typeface="Abadi Extra Light" panose="020B0204020104020204" pitchFamily="34" charset="0"/>
              </a:rPr>
              <a:t>void function</a:t>
            </a:r>
            <a:r>
              <a:rPr lang="en-US" sz="2000" dirty="0"/>
              <a:t>) which does not return a value</a:t>
            </a:r>
          </a:p>
          <a:p>
            <a:pPr lvl="1"/>
            <a:r>
              <a:rPr lang="en-US" sz="2000" dirty="0"/>
              <a:t>Cannot enable a task</a:t>
            </a:r>
          </a:p>
          <a:p>
            <a:r>
              <a:rPr lang="en-US" dirty="0"/>
              <a:t>Tasks</a:t>
            </a:r>
          </a:p>
          <a:p>
            <a:pPr lvl="1"/>
            <a:r>
              <a:rPr lang="en-US" sz="2000" dirty="0"/>
              <a:t>Can block</a:t>
            </a:r>
          </a:p>
          <a:p>
            <a:pPr lvl="2"/>
            <a:r>
              <a:rPr lang="en-US" sz="2000" dirty="0"/>
              <a:t>May contain time-controlling statements</a:t>
            </a:r>
          </a:p>
          <a:p>
            <a:pPr lvl="1"/>
            <a:r>
              <a:rPr lang="en-US" sz="2000" dirty="0"/>
              <a:t>Does not return a value</a:t>
            </a:r>
          </a:p>
          <a:p>
            <a:pPr lvl="1"/>
            <a:r>
              <a:rPr lang="en-US" sz="2000" dirty="0"/>
              <a:t>Can enable other tasks and/or func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5DD57F-D194-5FBC-6AB2-6EF925D22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5B77E9-813B-F0C1-C6F6-F29B86DBA91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547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EB7439-4EF9-54A3-3607-A81F7AAE2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7F5D88E-36DB-59BF-C67A-ACCBC3153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routines (</a:t>
            </a:r>
            <a:r>
              <a:rPr lang="en-US" dirty="0">
                <a:latin typeface="Abadi Extra Light" panose="020B0204020104020204" pitchFamily="34" charset="0"/>
              </a:rPr>
              <a:t>task</a:t>
            </a:r>
            <a:r>
              <a:rPr lang="en-US" dirty="0"/>
              <a:t> &amp; </a:t>
            </a:r>
            <a:r>
              <a:rPr lang="en-US" dirty="0">
                <a:latin typeface="Abadi Extra Light" panose="020B0204020104020204" pitchFamily="34" charset="0"/>
              </a:rPr>
              <a:t>function</a:t>
            </a:r>
            <a:r>
              <a:rPr lang="en-US" dirty="0"/>
              <a:t>) -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F301B8-51F7-832E-414B-88565C12BD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107CD1-00B0-715B-57C2-964901D51AA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3F1BB1-BEBA-BA2B-B0AC-386475F228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086" y="1105138"/>
            <a:ext cx="6466913" cy="4533662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9" name="Picture 8" descr="A screen shot of a computer code&#10;&#10;Description automatically generated">
            <a:extLst>
              <a:ext uri="{FF2B5EF4-FFF2-40B4-BE49-F238E27FC236}">
                <a16:creationId xmlns:a16="http://schemas.microsoft.com/office/drawing/2014/main" id="{9E118D4D-4453-BE5C-07FA-66C85F392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3511354"/>
            <a:ext cx="5772135" cy="275569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85538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269FE-B45F-0280-06F1-C24CF85050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0DC929-1297-0B22-5D4B-A1447DBCD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routines (</a:t>
            </a:r>
            <a:r>
              <a:rPr lang="en-US" dirty="0">
                <a:latin typeface="Abadi Extra Light" panose="020B0204020104020204" pitchFamily="34" charset="0"/>
              </a:rPr>
              <a:t>task</a:t>
            </a:r>
            <a:r>
              <a:rPr lang="en-US" dirty="0"/>
              <a:t> &amp; </a:t>
            </a:r>
            <a:r>
              <a:rPr lang="en-US" dirty="0">
                <a:latin typeface="Abadi Extra Light" panose="020B0204020104020204" pitchFamily="34" charset="0"/>
              </a:rPr>
              <a:t>function</a:t>
            </a:r>
            <a:r>
              <a:rPr lang="en-US" dirty="0"/>
              <a:t>) -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04653B-5613-31FD-0E4E-B3BE65921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BC018-47C1-8AFE-637F-14A8A96EE7B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672C8F-5E29-0DE9-8793-BFE75D7721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4"/>
          <a:stretch/>
        </p:blipFill>
        <p:spPr>
          <a:xfrm>
            <a:off x="1752600" y="1057478"/>
            <a:ext cx="7162800" cy="5546123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35327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4B5F6-1CA1-8BB9-348D-4475A29B10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56A7205-3A3D-F828-6991-4475AF7EA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/function Memory Us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EA721F7-BF15-3BF1-CDB7-AB74F3248D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tic</a:t>
            </a:r>
          </a:p>
          <a:p>
            <a:pPr lvl="1"/>
            <a:r>
              <a:rPr lang="en-US" sz="1800" dirty="0"/>
              <a:t>Tasks/functions are static by default except if they are declared inside a class scope</a:t>
            </a:r>
          </a:p>
          <a:p>
            <a:pPr lvl="1"/>
            <a:r>
              <a:rPr lang="en-US" sz="1800" dirty="0"/>
              <a:t>All variables of a static task/function are static by default</a:t>
            </a:r>
          </a:p>
          <a:p>
            <a:pPr lvl="1"/>
            <a:r>
              <a:rPr lang="en-US" sz="1800" dirty="0"/>
              <a:t>Static variables retain their value between invocations</a:t>
            </a:r>
          </a:p>
          <a:p>
            <a:pPr lvl="1"/>
            <a:r>
              <a:rPr lang="en-US" sz="1800" dirty="0"/>
              <a:t>There is a single static variable corresponding to each declared local variable in a module instance, regardless of the number of concurrent activations of the task/function.</a:t>
            </a:r>
          </a:p>
          <a:p>
            <a:pPr lvl="1"/>
            <a:r>
              <a:rPr lang="en-US" sz="1800" dirty="0"/>
              <a:t>Static tasks/functions in different instances of a module have separate storage from each other</a:t>
            </a:r>
          </a:p>
          <a:p>
            <a:r>
              <a:rPr lang="en-US" dirty="0"/>
              <a:t>Automatic</a:t>
            </a:r>
          </a:p>
          <a:p>
            <a:pPr lvl="1"/>
            <a:r>
              <a:rPr lang="en-US" sz="1800" dirty="0"/>
              <a:t>Allocate unique, separate storage for each task/function call</a:t>
            </a:r>
          </a:p>
          <a:p>
            <a:pPr lvl="1"/>
            <a:r>
              <a:rPr lang="en-US" sz="1800" dirty="0"/>
              <a:t>All variables of an automatic task/function are automatic by default</a:t>
            </a:r>
          </a:p>
          <a:p>
            <a:pPr lvl="1"/>
            <a:r>
              <a:rPr lang="en-US" sz="1800" dirty="0"/>
              <a:t>Automatic variables do not retain their values between invocations</a:t>
            </a:r>
          </a:p>
          <a:p>
            <a:pPr lvl="1"/>
            <a:r>
              <a:rPr lang="en-US" sz="1800" dirty="0"/>
              <a:t>Automatic variables are replicated on each concurrent task/function invo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D2BAE3-A776-3ED1-45BB-EDE5536E7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761159-E596-98C7-1411-E46FBD8AA1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86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2C50DA-53D3-3C99-1D6E-EE0969B63F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801B98-74A8-6A08-2E6C-3775ABC36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/function Memory Usage -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EFEBC4-282D-76AD-17FF-FE87149E7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ED887-D672-E668-C117-D9E86738CD6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8" name="Picture 7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97AE2C7C-6E91-B35D-5248-BA59C0B0A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077399"/>
            <a:ext cx="8229600" cy="5450614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9A5116-EE38-6022-817C-482639BD37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507" b="-1"/>
          <a:stretch/>
        </p:blipFill>
        <p:spPr>
          <a:xfrm>
            <a:off x="6546634" y="4705217"/>
            <a:ext cx="4959566" cy="1870058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951407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D45D5-6FE6-05E5-FF14-D6248EB7DA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0D721FC-B7DC-C178-C40C-61521AA8D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vs Tasks -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E6C2E-78C4-1B1D-DBF3-D682B868D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774886-3A3F-9663-BA47-2C7AADC824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0BB101B0-9C77-6AF3-B31C-AA51D23D41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10671"/>
              </p:ext>
            </p:extLst>
          </p:nvPr>
        </p:nvGraphicFramePr>
        <p:xfrm>
          <a:off x="1371600" y="2286000"/>
          <a:ext cx="8839200" cy="266700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4419600">
                  <a:extLst>
                    <a:ext uri="{9D8B030D-6E8A-4147-A177-3AD203B41FA5}">
                      <a16:colId xmlns:a16="http://schemas.microsoft.com/office/drawing/2014/main" val="2663879953"/>
                    </a:ext>
                  </a:extLst>
                </a:gridCol>
                <a:gridCol w="4419600">
                  <a:extLst>
                    <a:ext uri="{9D8B030D-6E8A-4147-A177-3AD203B41FA5}">
                      <a16:colId xmlns:a16="http://schemas.microsoft.com/office/drawing/2014/main" val="3016441457"/>
                    </a:ext>
                  </a:extLst>
                </a:gridCol>
              </a:tblGrid>
              <a:tr h="537820">
                <a:tc>
                  <a:txBody>
                    <a:bodyPr/>
                    <a:lstStyle/>
                    <a:p>
                      <a:pPr fontAlgn="base"/>
                      <a:r>
                        <a:rPr lang="en-US" b="1" dirty="0">
                          <a:effectLst/>
                        </a:rPr>
                        <a:t>Function</a:t>
                      </a: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b="1" dirty="0">
                          <a:effectLst/>
                        </a:rPr>
                        <a:t>Task</a:t>
                      </a: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390426075"/>
                  </a:ext>
                </a:extLst>
              </a:tr>
              <a:tr h="79568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It cannot contain simulation delay, so it executes in the same time unit.</a:t>
                      </a:r>
                      <a:endParaRPr lang="en-US" sz="1600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Can contain a simulation time delay and include </a:t>
                      </a:r>
                      <a:r>
                        <a:rPr lang="en-US" sz="1600" dirty="0"/>
                        <a:t>time-controlling statements </a:t>
                      </a:r>
                      <a:endParaRPr lang="en-US" sz="1600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1748942029"/>
                  </a:ext>
                </a:extLst>
              </a:tr>
              <a:tr h="79568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Can return a single value unless it is a void function</a:t>
                      </a:r>
                      <a:endParaRPr lang="en-US" sz="1600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Does not return a value but can achieve the same effect using output arguments</a:t>
                      </a:r>
                      <a:endParaRPr lang="en-US" sz="1600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109569117"/>
                  </a:ext>
                </a:extLst>
              </a:tr>
              <a:tr h="5378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Cannot call another task</a:t>
                      </a:r>
                      <a:endParaRPr lang="en-US" sz="1600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dirty="0">
                          <a:effectLst/>
                        </a:rPr>
                        <a:t>Can call another function or task</a:t>
                      </a:r>
                      <a:endParaRPr lang="en-US" sz="1600" dirty="0">
                        <a:effectLst/>
                      </a:endParaRPr>
                    </a:p>
                  </a:txBody>
                  <a:tcPr marL="30480" marR="30480" marT="30480" marB="30480" anchor="ctr"/>
                </a:tc>
                <a:extLst>
                  <a:ext uri="{0D108BD9-81ED-4DB2-BD59-A6C34878D82A}">
                    <a16:rowId xmlns:a16="http://schemas.microsoft.com/office/drawing/2014/main" val="3806315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4314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5034</TotalTime>
  <Words>1830</Words>
  <Application>Microsoft Office PowerPoint</Application>
  <PresentationFormat>Widescreen</PresentationFormat>
  <Paragraphs>237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badi Extra Light</vt:lpstr>
      <vt:lpstr>Arial</vt:lpstr>
      <vt:lpstr>Times New Roman</vt:lpstr>
      <vt:lpstr>TimesNewRomanPSMT</vt:lpstr>
      <vt:lpstr>Wingdings</vt:lpstr>
      <vt:lpstr>508 Lecture</vt:lpstr>
      <vt:lpstr>think-cell Slide</vt:lpstr>
      <vt:lpstr>CND212: Digital Testing and Verification</vt:lpstr>
      <vt:lpstr>SystemVerilog Routines </vt:lpstr>
      <vt:lpstr>Subroutines (task &amp; function)</vt:lpstr>
      <vt:lpstr>Subroutines (task &amp; function)</vt:lpstr>
      <vt:lpstr>Subroutines (task &amp; function) - example</vt:lpstr>
      <vt:lpstr>Subroutines (task &amp; function) - example</vt:lpstr>
      <vt:lpstr>Task/function Memory Usage</vt:lpstr>
      <vt:lpstr>Task/function Memory Usage - example</vt:lpstr>
      <vt:lpstr>Functions vs Tasks - Summary</vt:lpstr>
      <vt:lpstr>SystemVerilog Threading </vt:lpstr>
      <vt:lpstr>fork – join (Parallel blocks)</vt:lpstr>
      <vt:lpstr>fork – join (Parallel blocks)</vt:lpstr>
      <vt:lpstr>fork – join (Parallel blocks)</vt:lpstr>
      <vt:lpstr>fork – join (example1)</vt:lpstr>
      <vt:lpstr>fork – join_any (example2)</vt:lpstr>
      <vt:lpstr>fork – join_none (example3)</vt:lpstr>
      <vt:lpstr>fork – join (Parallel blocks)</vt:lpstr>
      <vt:lpstr>SystemVerilog Interprocess Synchronization &amp; Communication </vt:lpstr>
      <vt:lpstr>Overview</vt:lpstr>
      <vt:lpstr>Semaphore</vt:lpstr>
      <vt:lpstr>Semaphore Methods</vt:lpstr>
      <vt:lpstr>Semaphore – Example 1</vt:lpstr>
      <vt:lpstr>Semaphore – Example 2 </vt:lpstr>
      <vt:lpstr>Semaphore – Example 3</vt:lpstr>
      <vt:lpstr>Mailbox</vt:lpstr>
      <vt:lpstr>Mailbox Methods</vt:lpstr>
      <vt:lpstr>Mailbox – bounded/unbounded</vt:lpstr>
      <vt:lpstr>Mailbox – example</vt:lpstr>
      <vt:lpstr>Lab 3: (~ 60 min) </vt:lpstr>
      <vt:lpstr>Lab Task: Producer-Consumer Model</vt:lpstr>
      <vt:lpstr>Assignment: (~ 60 min) </vt:lpstr>
      <vt:lpstr>Assignment: Producer-Consumer Model with priorities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56</cp:revision>
  <dcterms:created xsi:type="dcterms:W3CDTF">2014-07-14T20:04:21Z</dcterms:created>
  <dcterms:modified xsi:type="dcterms:W3CDTF">2024-02-23T23:33:01Z</dcterms:modified>
</cp:coreProperties>
</file>